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4"/>
  </p:sldMasterIdLst>
  <p:notesMasterIdLst>
    <p:notesMasterId r:id="rId14"/>
  </p:notesMasterIdLst>
  <p:sldIdLst>
    <p:sldId id="256" r:id="rId5"/>
    <p:sldId id="274" r:id="rId6"/>
    <p:sldId id="272" r:id="rId7"/>
    <p:sldId id="273" r:id="rId8"/>
    <p:sldId id="259" r:id="rId9"/>
    <p:sldId id="260" r:id="rId10"/>
    <p:sldId id="261" r:id="rId11"/>
    <p:sldId id="262" r:id="rId12"/>
    <p:sldId id="26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zhalika Levandouskaya" initials="AL" lastIdx="43" clrIdx="0">
    <p:extLst>
      <p:ext uri="{19B8F6BF-5375-455C-9EA6-DF929625EA0E}">
        <p15:presenceInfo xmlns:p15="http://schemas.microsoft.com/office/powerpoint/2012/main" userId="S::Anzhalika_Levandouskaya@epam.com::92adfee3-e19f-494c-b48e-2a057e813db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FD8C84-37A4-4848-A5CC-DED6E5E98C62}" v="63" dt="2021-07-02T09:45:30.9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08"/>
    <p:restoredTop sz="93179"/>
  </p:normalViewPr>
  <p:slideViewPr>
    <p:cSldViewPr snapToGrid="0">
      <p:cViewPr varScale="1">
        <p:scale>
          <a:sx n="149" d="100"/>
          <a:sy n="149" d="100"/>
        </p:scale>
        <p:origin x="154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DA449-81D0-4C65-80FA-E84926361CC3}" type="datetimeFigureOut">
              <a:rPr lang="en-US" smtClean="0"/>
              <a:t>10/27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A5C3A5-A464-4897-B884-BB9B35180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57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267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66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58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16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26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A5C3A5-A464-4897-B884-BB9B35180A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69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epa.ms/stories" TargetMode="Externa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21FFBE-FD73-4914-B88C-A205297E29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FA7817-3B6C-3F4A-B7B9-1C24248B0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115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3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Up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1799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4F57360-96E0-124A-8B27-F0C4589ED9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912147"/>
            <a:ext cx="11274552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91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9921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190717A-8E85-0A40-B27D-E9A4F8826E8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141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218CE59C-541D-F946-A8DA-A4B9F8BF4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F83E1B4-D017-3E4B-8268-79DFC41DB4DB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7E2E61-17F9-0842-9210-A1111E25B8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553998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548B8AD-0CC3-5248-932C-F8A325C1B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4D782FD-394E-974B-830A-5392AB47CB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E6B5C5-2BAC-FD6B-0C38-1084A40930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816010"/>
          </a:xfrm>
        </p:spPr>
        <p:txBody>
          <a:bodyPr>
            <a:spAutoFit/>
          </a:bodyPr>
          <a:lstStyle>
            <a:lvl1pPr>
              <a:defRPr sz="1800">
                <a:ln>
                  <a:noFill/>
                </a:ln>
                <a:solidFill>
                  <a:schemeClr val="bg1"/>
                </a:solidFill>
              </a:defRPr>
            </a:lvl1pPr>
            <a:lvl2pPr>
              <a:defRPr sz="1800"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 sz="1800"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 sz="1800"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 sz="1800"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N" dirty="0"/>
          </a:p>
        </p:txBody>
      </p:sp>
    </p:spTree>
    <p:extLst>
      <p:ext uri="{BB962C8B-B14F-4D97-AF65-F5344CB8AC3E}">
        <p14:creationId xmlns:p14="http://schemas.microsoft.com/office/powerpoint/2010/main" val="3781488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6D646D-415F-4D4E-B837-24C4E1CE09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371600"/>
            <a:ext cx="5764213" cy="3886200"/>
          </a:xfrm>
          <a:prstGeom prst="rect">
            <a:avLst/>
          </a:prstGeom>
        </p:spPr>
        <p:txBody>
          <a:bodyPr/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arge statement combined with supporting </a:t>
            </a:r>
            <a:br>
              <a:rPr lang="en-US"/>
            </a:br>
            <a:r>
              <a:rPr lang="en-US"/>
              <a:t>text her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330B547-343B-414C-8E1F-67C7C72B2F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6901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</p:spTree>
    <p:extLst>
      <p:ext uri="{BB962C8B-B14F-4D97-AF65-F5344CB8AC3E}">
        <p14:creationId xmlns:p14="http://schemas.microsoft.com/office/powerpoint/2010/main" val="3063849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F557E5-085D-F44F-B30C-91E51AE491D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E178E08-6B21-2843-9385-4D9886760A9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8C029E-1B45-494C-B838-1704772FF7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C1CA1B-2E41-DA49-A688-13BC11756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6546028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105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29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-1/2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1F9CF-CDF3-4EE6-A083-D93A581134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936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39377C-8642-441F-BDC6-500DB01AD362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55192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5519275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400" spc="300" dirty="0">
                <a:solidFill>
                  <a:schemeClr val="bg2"/>
                </a:solidFill>
                <a:effectLst/>
              </a:defRPr>
            </a:lvl1pPr>
            <a:lvl2pPr>
              <a:buNone/>
              <a:defRPr/>
            </a:lvl2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>
                <a:effectLst/>
              </a:rPr>
              <a:t>April 2021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1A216CA-E680-42EB-BC45-95A09D6275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5998" y="0"/>
            <a:ext cx="6096001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AA8C38-4FF3-4F33-8B0F-196D0BC79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FB842CEE-8A53-0D42-A72B-7D63B1ED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269617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010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69900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03B5AFB-E799-0442-BA28-6AF5A02967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4095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Pictur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657C14D-88D4-2E4E-B3D4-C2C8ABFC1A31}"/>
              </a:ext>
            </a:extLst>
          </p:cNvPr>
          <p:cNvSpPr/>
          <p:nvPr userDrawn="1"/>
        </p:nvSpPr>
        <p:spPr bwMode="auto">
          <a:xfrm>
            <a:off x="4302124" y="0"/>
            <a:ext cx="788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924339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211704-E6A2-554A-83D7-019EF0F003D0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4E06C20-AA8E-8342-A500-79B18C390223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0B5FC9B-C94B-DD4C-B568-43367EF1D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14697" y="0"/>
            <a:ext cx="787730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96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EB0785-A8B2-B844-97DC-362F6DEDB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3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Lef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9870588-DEAA-3B45-9A4B-86DCE176308E}"/>
              </a:ext>
            </a:extLst>
          </p:cNvPr>
          <p:cNvSpPr/>
          <p:nvPr userDrawn="1"/>
        </p:nvSpPr>
        <p:spPr bwMode="auto">
          <a:xfrm flipH="1"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233F4-4BA6-EC46-8DB3-143A95D5459A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8E027D5-10AF-5247-B60F-C8B2D62BC77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tx1"/>
                </a:solidFill>
              </a:rPr>
              <a:pPr lvl="0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300D359-43E3-7747-A509-348C3E30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819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002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D48285-8885-4D22-8AE4-172AF61141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02C5AA0-D8CE-634A-97A8-97B2BC7150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75079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23780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5D96D1E-C1BD-6F40-A978-D03F53CD4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7DFB89-A9BD-47AC-B57A-7869039229B5}"/>
              </a:ext>
            </a:extLst>
          </p:cNvPr>
          <p:cNvSpPr/>
          <p:nvPr userDrawn="1"/>
        </p:nvSpPr>
        <p:spPr bwMode="auto">
          <a:xfrm>
            <a:off x="0" y="0"/>
            <a:ext cx="31083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036E7A-2B84-45D1-985C-C2AD71420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E8FAB7B-4710-4747-B680-F6B4F0097B2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8325" y="0"/>
            <a:ext cx="9083675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687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2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430212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A9547FE-7857-4A70-ACDF-06ACC0CC38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1BCE546-F0EF-2742-9891-475F8219D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499646"/>
            <a:ext cx="3606927" cy="338554"/>
          </a:xfrm>
        </p:spPr>
        <p:txBody>
          <a:bodyPr wrap="square"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196D5E-2DE5-E948-A22F-E057A6B999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7523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Mock Up Lef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7180263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F61EEF5-D25E-43F9-9DE7-B0D48CE58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E184C37-FA49-E94C-B478-B1492E6E7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00087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2407920" cy="677108"/>
          </a:xfrm>
        </p:spPr>
        <p:txBody>
          <a:bodyPr>
            <a:spAutoFit/>
          </a:bodyPr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240792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B0227B-1090-48E9-B33D-CB9CA73DF05F}"/>
              </a:ext>
            </a:extLst>
          </p:cNvPr>
          <p:cNvSpPr/>
          <p:nvPr userDrawn="1"/>
        </p:nvSpPr>
        <p:spPr bwMode="auto">
          <a:xfrm flipH="1">
            <a:off x="3108325" y="0"/>
            <a:ext cx="9083675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CC76E4-4D68-894E-AF17-C8188D17CE71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4E5246D-43F4-5946-BF12-EAA7EF1F6B9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4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188486-1E04-4170-877E-F561315E0F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8E369A2-FC86-4140-9080-E549260B9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8775" y="4663440"/>
            <a:ext cx="64897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Sub-description text goes here over one or two lines</a:t>
            </a:r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6A18E7-9305-4C6B-A5A3-4962D30A22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775" y="5245390"/>
            <a:ext cx="6489700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spc="300">
                <a:solidFill>
                  <a:schemeClr val="bg1">
                    <a:lumMod val="95000"/>
                  </a:schemeClr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>
                <a:effectLst/>
              </a:rPr>
              <a:t>23 OCTOBER 2020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E8C851A-E2E7-4523-9F42-0BB009E564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776" y="610099"/>
            <a:ext cx="1070464" cy="37725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6769452-030B-5548-B575-999D639F6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5764213" cy="184665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6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5613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6095999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E70CA8-AE5E-9144-B51A-3DB9B2B912F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2E37B5-D917-F347-A92A-FFF42F041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8B879C7-3885-2143-A73F-46BF2685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797425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C884B43-5420-8A44-BD3B-D88B17EDD055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494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3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 flipH="1">
            <a:off x="7907337" y="0"/>
            <a:ext cx="428466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8C65148-4BCC-48BC-8E7B-05AA0108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7139"/>
            <a:ext cx="4797425" cy="338554"/>
          </a:xfrm>
        </p:spPr>
        <p:txBody>
          <a:bodyPr>
            <a:spAutoFit/>
          </a:bodyPr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B55E40-4D84-A94C-A4CB-F465F24AE156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0D87F5D-4F0F-994A-BFA6-46BC2DD6C51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6A52748-F772-0748-94C9-3767AF238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76920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1/2 Pict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4D51ED0-4D08-4641-87AC-8F2B5E2A3B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A703936-AD1E-BD44-91CB-919F81D7BFEC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D1BED4F-175D-FF44-A003-4A5C8D212304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091CD3F7-14AE-A849-9B73-75D2354D484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90E848-D90D-3040-B1C3-7D33F1A7A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27353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0EAA2BB-1929-1344-BB72-B8696E5C93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1613153"/>
            <a:ext cx="4784852" cy="296574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6C52A15-EBCB-2E4D-B9B0-C28E4B5B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2495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Statem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63D721A-127A-4DBE-B738-ABA4893319B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03841" y="1600200"/>
            <a:ext cx="4797425" cy="338554"/>
          </a:xfrm>
        </p:spPr>
        <p:txBody>
          <a:bodyPr>
            <a:sp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14" y="2286000"/>
            <a:ext cx="4784852" cy="36576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 It was </a:t>
            </a:r>
            <a:r>
              <a:rPr lang="en-US" err="1"/>
              <a:t>popularised</a:t>
            </a:r>
            <a:r>
              <a:rPr lang="en-US"/>
              <a:t> in the 1960s with the release of Letraset sheets containing Lorem Ipsum passages, and more recently with desktop publishing software like Aldus PageMaker including versions of Lorem Ipsum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E44CDB4-CF54-423C-9681-C9AAACA56B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4CC298-22F4-2C44-B143-5C071C1464AE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4434E4-9DFC-C54A-8FA5-A3977779F6DB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Pictur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45720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231494"/>
            <a:ext cx="3611880" cy="225706"/>
          </a:xfrm>
          <a:prstGeom prst="rect">
            <a:avLst/>
          </a:prstGeom>
        </p:spPr>
        <p:txBody>
          <a:bodyPr/>
          <a:lstStyle>
            <a:lvl1pPr>
              <a:defRPr sz="1000" b="1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B02766-9497-4A26-BB62-880E918552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4ACCEEE-9EE8-4BBF-B992-09ACA791A9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C8C061-6443-461A-A052-E19A46AADC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1376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26FC49A-5396-46E4-8A00-C0A017834E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376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EE17DA-6635-495B-A481-BBD7188AD4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7032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F29616B-A8DB-42A6-A277-8CAE573E98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7032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D35C967-D122-42CE-BDAF-F34B55F00E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26880" y="2753526"/>
            <a:ext cx="2407920" cy="46211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1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FDC613-45BE-47C3-82C5-FC027C2DE4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6880" y="3434928"/>
            <a:ext cx="2407920" cy="263059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 Leo dui </a:t>
            </a:r>
            <a:r>
              <a:rPr lang="en-US" err="1"/>
              <a:t>sapien</a:t>
            </a:r>
            <a:r>
              <a:rPr lang="en-US"/>
              <a:t>,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 Cras sit integer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morbi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sem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Magna in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84AF8F5-D562-4FBF-9069-09A640AACD0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3731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4F5537FA-B25A-4A75-AFE8-CB3D2D4EA78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13442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62EC0755-06FE-418F-830B-3953EAC2B2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63153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7" name="Picture Placeholder 23">
            <a:extLst>
              <a:ext uri="{FF2B5EF4-FFF2-40B4-BE49-F238E27FC236}">
                <a16:creationId xmlns:a16="http://schemas.microsoft.com/office/drawing/2014/main" id="{5145A383-DF32-4D59-98B6-07591E0CE3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312864" y="1143000"/>
            <a:ext cx="2408238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160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1" y="4124960"/>
            <a:ext cx="3312160" cy="246221"/>
          </a:xfrm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E7496-2B11-468F-A424-81EF7552D4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9773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0767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F7B19A9-71C0-403D-B507-22838A53F14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6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584A1708-3D5F-4AC2-B35F-FB446EFEB7C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0700" y="0"/>
            <a:ext cx="4064000" cy="3429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BF9D5A-73E5-43EB-95F4-FF5636951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4697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C52B6B-2068-4BD5-8D7B-E2AA5CC14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06449" y="4502295"/>
            <a:ext cx="3299588" cy="8023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</a:lstStyle>
          <a:p>
            <a:pPr lvl="0"/>
            <a:r>
              <a:rPr lang="en-US"/>
              <a:t>Lorem Ipsum is simply dummy text of the printing and typesetting industry. Lorem Ipsum has been the industry's standard dummy text ever since the 1500s, when an unknown printer took a galley of type a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6DCAB-CD09-4E29-A907-70E7EBE0E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125" y="4124325"/>
            <a:ext cx="3311525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C9A5C7D-52BE-42FF-9382-B63BBD810F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406449" y="4114800"/>
            <a:ext cx="3312160" cy="2462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 lang="en-US" sz="1600" b="1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340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-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615E796-86B4-4C38-A923-10DBDCC4B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3" y="6469379"/>
            <a:ext cx="1382049" cy="9144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56621FE-2493-434D-BD83-B0B78B101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5D56692-426B-4F40-8BC1-45B989D441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8777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32D43E18-54F7-4125-A364-D733497B4F3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7555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0D751945-7936-4E08-A1DF-7F344072146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46333" y="0"/>
            <a:ext cx="3045667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432762-A502-4EDF-9936-2F1B5B291C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43F49D1-094C-794E-ADD9-2E27004213E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tx1"/>
                </a:solidFill>
              </a:rPr>
              <a:t>CONFIDENTIAL. Copyright ©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B996F9F-D55F-FD42-A589-2783B304344D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mtClean="0">
                <a:solidFill>
                  <a:schemeClr val="tx1"/>
                </a:solidFill>
              </a:rPr>
              <a:pPr lvl="0"/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37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ABDB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97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71FB1-EED5-E148-9A93-A29EB92D1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6397" y="1220724"/>
            <a:ext cx="7892478" cy="2712730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50000"/>
              </a:lnSpc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Leo </a:t>
            </a:r>
            <a:r>
              <a:rPr lang="en-US" err="1"/>
              <a:t>luctus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viverra</a:t>
            </a:r>
            <a:r>
              <a:rPr lang="en-US"/>
              <a:t> </a:t>
            </a:r>
            <a:r>
              <a:rPr lang="en-US" err="1"/>
              <a:t>facilisi</a:t>
            </a:r>
            <a:r>
              <a:rPr lang="en-US"/>
              <a:t>. </a:t>
            </a:r>
            <a:r>
              <a:rPr lang="en-US" err="1"/>
              <a:t>Tristique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,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scelerisque</a:t>
            </a:r>
            <a:r>
              <a:rPr lang="en-US"/>
              <a:t> fermentum. </a:t>
            </a:r>
            <a:r>
              <a:rPr lang="en-US" err="1"/>
              <a:t>Venenatis</a:t>
            </a:r>
            <a:r>
              <a:rPr lang="en-US"/>
              <a:t>,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netus</a:t>
            </a:r>
            <a:r>
              <a:rPr lang="en-US"/>
              <a:t> magna </a:t>
            </a:r>
            <a:r>
              <a:rPr lang="en-US" err="1"/>
              <a:t>eleifen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. Eros </a:t>
            </a:r>
            <a:r>
              <a:rPr lang="en-US" err="1"/>
              <a:t>orci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at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tellu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61F754-B893-AE42-8D75-BA81D1A9A8FF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BD9E730-867D-BF4D-8996-7605F868D97E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D6E288-882B-514C-B335-273A187E2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grpSp>
        <p:nvGrpSpPr>
          <p:cNvPr id="8" name="Graphic 4">
            <a:extLst>
              <a:ext uri="{FF2B5EF4-FFF2-40B4-BE49-F238E27FC236}">
                <a16:creationId xmlns:a16="http://schemas.microsoft.com/office/drawing/2014/main" id="{823A4988-0868-304B-AD24-7AFF2D3D342A}"/>
              </a:ext>
            </a:extLst>
          </p:cNvPr>
          <p:cNvGrpSpPr/>
          <p:nvPr userDrawn="1"/>
        </p:nvGrpSpPr>
        <p:grpSpPr>
          <a:xfrm>
            <a:off x="494098" y="2286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DBA4B6-758F-E547-A4C5-72E7C40C04B9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7A9479-37D0-E448-A740-1DFA8790CA9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1" name="Graphic 4">
            <a:extLst>
              <a:ext uri="{FF2B5EF4-FFF2-40B4-BE49-F238E27FC236}">
                <a16:creationId xmlns:a16="http://schemas.microsoft.com/office/drawing/2014/main" id="{981FF5D2-40D7-B048-B33B-B448FA5F16F4}"/>
              </a:ext>
            </a:extLst>
          </p:cNvPr>
          <p:cNvGrpSpPr/>
          <p:nvPr userDrawn="1"/>
        </p:nvGrpSpPr>
        <p:grpSpPr>
          <a:xfrm rot="10800000">
            <a:off x="10425627" y="5219700"/>
            <a:ext cx="1309173" cy="952500"/>
            <a:chOff x="1851964" y="2058769"/>
            <a:chExt cx="424433" cy="308800"/>
          </a:xfrm>
          <a:solidFill>
            <a:schemeClr val="bg2">
              <a:lumMod val="25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5EF95A2-728D-A049-91DE-CDD3C11B4CB1}"/>
                </a:ext>
              </a:extLst>
            </p:cNvPr>
            <p:cNvSpPr/>
            <p:nvPr/>
          </p:nvSpPr>
          <p:spPr>
            <a:xfrm>
              <a:off x="1851964" y="2058769"/>
              <a:ext cx="196214" cy="308800"/>
            </a:xfrm>
            <a:custGeom>
              <a:avLst/>
              <a:gdLst>
                <a:gd name="connsiteX0" fmla="*/ 96202 w 196214"/>
                <a:gd name="connsiteY0" fmla="*/ 0 h 308800"/>
                <a:gd name="connsiteX1" fmla="*/ 166211 w 196214"/>
                <a:gd name="connsiteY1" fmla="*/ 31909 h 308800"/>
                <a:gd name="connsiteX2" fmla="*/ 188119 w 196214"/>
                <a:gd name="connsiteY2" fmla="*/ 67913 h 308800"/>
                <a:gd name="connsiteX3" fmla="*/ 196215 w 196214"/>
                <a:gd name="connsiteY3" fmla="*/ 110585 h 308800"/>
                <a:gd name="connsiteX4" fmla="*/ 166688 w 196214"/>
                <a:gd name="connsiteY4" fmla="*/ 202311 h 308800"/>
                <a:gd name="connsiteX5" fmla="*/ 87630 w 196214"/>
                <a:gd name="connsiteY5" fmla="*/ 281178 h 308800"/>
                <a:gd name="connsiteX6" fmla="*/ 21907 w 196214"/>
                <a:gd name="connsiteY6" fmla="*/ 308801 h 308800"/>
                <a:gd name="connsiteX7" fmla="*/ 6191 w 196214"/>
                <a:gd name="connsiteY7" fmla="*/ 303085 h 308800"/>
                <a:gd name="connsiteX8" fmla="*/ 0 w 196214"/>
                <a:gd name="connsiteY8" fmla="*/ 287846 h 308800"/>
                <a:gd name="connsiteX9" fmla="*/ 18098 w 196214"/>
                <a:gd name="connsiteY9" fmla="*/ 264033 h 308800"/>
                <a:gd name="connsiteX10" fmla="*/ 81439 w 196214"/>
                <a:gd name="connsiteY10" fmla="*/ 219742 h 308800"/>
                <a:gd name="connsiteX11" fmla="*/ 100489 w 196214"/>
                <a:gd name="connsiteY11" fmla="*/ 189738 h 308800"/>
                <a:gd name="connsiteX12" fmla="*/ 86201 w 196214"/>
                <a:gd name="connsiteY12" fmla="*/ 178784 h 308800"/>
                <a:gd name="connsiteX13" fmla="*/ 80010 w 196214"/>
                <a:gd name="connsiteY13" fmla="*/ 177832 h 308800"/>
                <a:gd name="connsiteX14" fmla="*/ 72866 w 196214"/>
                <a:gd name="connsiteY14" fmla="*/ 177355 h 308800"/>
                <a:gd name="connsiteX15" fmla="*/ 22574 w 196214"/>
                <a:gd name="connsiteY15" fmla="*/ 148495 h 308800"/>
                <a:gd name="connsiteX16" fmla="*/ 3238 w 196214"/>
                <a:gd name="connsiteY16" fmla="*/ 90106 h 308800"/>
                <a:gd name="connsiteX17" fmla="*/ 27051 w 196214"/>
                <a:gd name="connsiteY17" fmla="*/ 29146 h 308800"/>
                <a:gd name="connsiteX18" fmla="*/ 96202 w 196214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4" h="308800">
                  <a:moveTo>
                    <a:pt x="96202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722" y="299561"/>
                    <a:pt x="37719" y="308801"/>
                    <a:pt x="21907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8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8" y="112966"/>
                    <a:pt x="3238" y="90106"/>
                  </a:cubicBezTo>
                  <a:cubicBezTo>
                    <a:pt x="3238" y="66580"/>
                    <a:pt x="11144" y="46291"/>
                    <a:pt x="27051" y="29146"/>
                  </a:cubicBezTo>
                  <a:cubicBezTo>
                    <a:pt x="45149" y="9715"/>
                    <a:pt x="68199" y="0"/>
                    <a:pt x="9620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41BF97-F3E8-2C41-8D83-077454953A50}"/>
                </a:ext>
              </a:extLst>
            </p:cNvPr>
            <p:cNvSpPr/>
            <p:nvPr/>
          </p:nvSpPr>
          <p:spPr>
            <a:xfrm>
              <a:off x="2080183" y="2058769"/>
              <a:ext cx="196215" cy="308800"/>
            </a:xfrm>
            <a:custGeom>
              <a:avLst/>
              <a:gdLst>
                <a:gd name="connsiteX0" fmla="*/ 96203 w 196215"/>
                <a:gd name="connsiteY0" fmla="*/ 0 h 308800"/>
                <a:gd name="connsiteX1" fmla="*/ 166211 w 196215"/>
                <a:gd name="connsiteY1" fmla="*/ 31909 h 308800"/>
                <a:gd name="connsiteX2" fmla="*/ 188119 w 196215"/>
                <a:gd name="connsiteY2" fmla="*/ 67913 h 308800"/>
                <a:gd name="connsiteX3" fmla="*/ 196215 w 196215"/>
                <a:gd name="connsiteY3" fmla="*/ 110585 h 308800"/>
                <a:gd name="connsiteX4" fmla="*/ 166688 w 196215"/>
                <a:gd name="connsiteY4" fmla="*/ 202311 h 308800"/>
                <a:gd name="connsiteX5" fmla="*/ 87630 w 196215"/>
                <a:gd name="connsiteY5" fmla="*/ 281178 h 308800"/>
                <a:gd name="connsiteX6" fmla="*/ 21908 w 196215"/>
                <a:gd name="connsiteY6" fmla="*/ 308801 h 308800"/>
                <a:gd name="connsiteX7" fmla="*/ 6191 w 196215"/>
                <a:gd name="connsiteY7" fmla="*/ 303085 h 308800"/>
                <a:gd name="connsiteX8" fmla="*/ 0 w 196215"/>
                <a:gd name="connsiteY8" fmla="*/ 287846 h 308800"/>
                <a:gd name="connsiteX9" fmla="*/ 18097 w 196215"/>
                <a:gd name="connsiteY9" fmla="*/ 264033 h 308800"/>
                <a:gd name="connsiteX10" fmla="*/ 81439 w 196215"/>
                <a:gd name="connsiteY10" fmla="*/ 219742 h 308800"/>
                <a:gd name="connsiteX11" fmla="*/ 100489 w 196215"/>
                <a:gd name="connsiteY11" fmla="*/ 189738 h 308800"/>
                <a:gd name="connsiteX12" fmla="*/ 86201 w 196215"/>
                <a:gd name="connsiteY12" fmla="*/ 178784 h 308800"/>
                <a:gd name="connsiteX13" fmla="*/ 80010 w 196215"/>
                <a:gd name="connsiteY13" fmla="*/ 177832 h 308800"/>
                <a:gd name="connsiteX14" fmla="*/ 72866 w 196215"/>
                <a:gd name="connsiteY14" fmla="*/ 177355 h 308800"/>
                <a:gd name="connsiteX15" fmla="*/ 22574 w 196215"/>
                <a:gd name="connsiteY15" fmla="*/ 148495 h 308800"/>
                <a:gd name="connsiteX16" fmla="*/ 3239 w 196215"/>
                <a:gd name="connsiteY16" fmla="*/ 90106 h 308800"/>
                <a:gd name="connsiteX17" fmla="*/ 27051 w 196215"/>
                <a:gd name="connsiteY17" fmla="*/ 29146 h 308800"/>
                <a:gd name="connsiteX18" fmla="*/ 96203 w 196215"/>
                <a:gd name="connsiteY18" fmla="*/ 0 h 30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215" h="308800">
                  <a:moveTo>
                    <a:pt x="96203" y="0"/>
                  </a:moveTo>
                  <a:cubicBezTo>
                    <a:pt x="123539" y="0"/>
                    <a:pt x="146876" y="10668"/>
                    <a:pt x="166211" y="31909"/>
                  </a:cubicBezTo>
                  <a:cubicBezTo>
                    <a:pt x="175451" y="41815"/>
                    <a:pt x="182689" y="53721"/>
                    <a:pt x="188119" y="67913"/>
                  </a:cubicBezTo>
                  <a:cubicBezTo>
                    <a:pt x="193548" y="82010"/>
                    <a:pt x="196215" y="96298"/>
                    <a:pt x="196215" y="110585"/>
                  </a:cubicBezTo>
                  <a:cubicBezTo>
                    <a:pt x="196215" y="140779"/>
                    <a:pt x="186404" y="171355"/>
                    <a:pt x="166688" y="202311"/>
                  </a:cubicBezTo>
                  <a:cubicBezTo>
                    <a:pt x="146971" y="233267"/>
                    <a:pt x="120587" y="259556"/>
                    <a:pt x="87630" y="281178"/>
                  </a:cubicBezTo>
                  <a:cubicBezTo>
                    <a:pt x="59627" y="299561"/>
                    <a:pt x="37719" y="308801"/>
                    <a:pt x="21908" y="308801"/>
                  </a:cubicBezTo>
                  <a:cubicBezTo>
                    <a:pt x="15526" y="308801"/>
                    <a:pt x="10287" y="306896"/>
                    <a:pt x="6191" y="303085"/>
                  </a:cubicBezTo>
                  <a:cubicBezTo>
                    <a:pt x="2095" y="299276"/>
                    <a:pt x="0" y="294227"/>
                    <a:pt x="0" y="287846"/>
                  </a:cubicBezTo>
                  <a:cubicBezTo>
                    <a:pt x="0" y="278321"/>
                    <a:pt x="6001" y="270415"/>
                    <a:pt x="18097" y="264033"/>
                  </a:cubicBezTo>
                  <a:cubicBezTo>
                    <a:pt x="46958" y="249079"/>
                    <a:pt x="68104" y="234315"/>
                    <a:pt x="81439" y="219742"/>
                  </a:cubicBezTo>
                  <a:cubicBezTo>
                    <a:pt x="94107" y="206121"/>
                    <a:pt x="100489" y="196120"/>
                    <a:pt x="100489" y="189738"/>
                  </a:cubicBezTo>
                  <a:cubicBezTo>
                    <a:pt x="100489" y="183737"/>
                    <a:pt x="95726" y="180023"/>
                    <a:pt x="86201" y="178784"/>
                  </a:cubicBezTo>
                  <a:lnTo>
                    <a:pt x="80010" y="177832"/>
                  </a:lnTo>
                  <a:lnTo>
                    <a:pt x="72866" y="177355"/>
                  </a:lnTo>
                  <a:cubicBezTo>
                    <a:pt x="52197" y="174212"/>
                    <a:pt x="35433" y="164592"/>
                    <a:pt x="22574" y="148495"/>
                  </a:cubicBezTo>
                  <a:cubicBezTo>
                    <a:pt x="9716" y="132493"/>
                    <a:pt x="3239" y="112966"/>
                    <a:pt x="3239" y="90106"/>
                  </a:cubicBezTo>
                  <a:cubicBezTo>
                    <a:pt x="3239" y="66580"/>
                    <a:pt x="11144" y="46291"/>
                    <a:pt x="27051" y="29146"/>
                  </a:cubicBezTo>
                  <a:cubicBezTo>
                    <a:pt x="45244" y="9715"/>
                    <a:pt x="68199" y="0"/>
                    <a:pt x="962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B4BAB6-FAAD-BA41-8450-398BD1279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6808" y="4620894"/>
            <a:ext cx="2822067" cy="257250"/>
          </a:xfrm>
        </p:spPr>
        <p:txBody>
          <a:bodyPr>
            <a:spAutoFit/>
          </a:bodyPr>
          <a:lstStyle>
            <a:lvl1pPr algn="r"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883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84340-BD33-8E44-99AA-6996388612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289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7D36EB9C-BBDB-7447-884B-AC6C7C7D1D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CE784D3-D287-664F-80A6-CBA29DD12F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9A1CE94-599A-5146-9EFB-9AEECE436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0E828E5-70FD-D449-B964-390D8366E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3D1ADF7-7F17-9F4A-A000-26CFD756A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C8974FB4-0DC4-9A48-849B-3445C1732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3B70AEBB-A750-864B-B6BD-21B4D0EFE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6A80AC0-F1D6-7541-A91C-C279FD1948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8BEB51A-F18F-5749-809D-EC078A513A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735154-D863-074C-BEF0-25E8F08360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373B72A-00B1-9E4F-BC7F-202B2AC57F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584DDAC-74C3-8649-AA09-BE37E59266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BE98457-B105-874C-9706-66BA69C1A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C8558E-5624-D848-B1A3-4B79F93D0AC1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954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F8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631137FB-F149-DD41-B765-24A58A85DE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1291" y="1024301"/>
            <a:ext cx="609419" cy="545269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952A47A2-EF74-7B4A-948B-354D8CBA8096}"/>
              </a:ext>
            </a:extLst>
          </p:cNvPr>
          <p:cNvSpPr txBox="1">
            <a:spLocks/>
          </p:cNvSpPr>
          <p:nvPr userDrawn="1"/>
        </p:nvSpPr>
        <p:spPr>
          <a:xfrm>
            <a:off x="3894218" y="1786378"/>
            <a:ext cx="440356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sz="4800">
                <a:solidFill>
                  <a:schemeClr val="lt1"/>
                </a:solidFill>
              </a:rPr>
              <a:t>Disclaim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14BDE5-32F5-E643-A4FF-D09A52DA71E1}"/>
              </a:ext>
            </a:extLst>
          </p:cNvPr>
          <p:cNvSpPr/>
          <p:nvPr userDrawn="1"/>
        </p:nvSpPr>
        <p:spPr>
          <a:xfrm>
            <a:off x="2573605" y="5025323"/>
            <a:ext cx="7044791" cy="114687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spcAft>
                <a:spcPts val="600"/>
              </a:spcAft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This presentation was downloaded from Presales Stories. </a:t>
            </a:r>
          </a:p>
          <a:p>
            <a:pPr algn="ctr" defTabSz="914354">
              <a:defRPr/>
            </a:pPr>
            <a: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  <a:t>Discover more content about EPAM’s Capabilities at </a:t>
            </a:r>
            <a:br>
              <a:rPr lang="en-US" sz="1600" b="1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</a:rPr>
            </a:br>
            <a:r>
              <a:rPr lang="en-US" sz="1600" b="1" u="sng">
                <a:solidFill>
                  <a:schemeClr val="accent3">
                    <a:lumMod val="40000"/>
                    <a:lumOff val="60000"/>
                  </a:schemeClr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pa.ms/stories</a:t>
            </a:r>
            <a:endParaRPr lang="en-US" sz="1600" b="1">
              <a:solidFill>
                <a:schemeClr val="accent3">
                  <a:lumMod val="40000"/>
                  <a:lumOff val="60000"/>
                </a:schemeClr>
              </a:solidFill>
              <a:latin typeface="Calibri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01F7317-9450-7F4E-8CF4-A6FAE6DBDD15}"/>
              </a:ext>
            </a:extLst>
          </p:cNvPr>
          <p:cNvSpPr txBox="1">
            <a:spLocks/>
          </p:cNvSpPr>
          <p:nvPr userDrawn="1"/>
        </p:nvSpPr>
        <p:spPr>
          <a:xfrm>
            <a:off x="2901517" y="2834448"/>
            <a:ext cx="6388966" cy="16047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All provided material can only be used under NDA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Slides can Contain Confidential Notes</a:t>
            </a:r>
            <a:b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</a:br>
            <a:r>
              <a:rPr lang="en-US" sz="2400" b="0">
                <a:solidFill>
                  <a:schemeClr val="bg1"/>
                </a:solidFill>
                <a:latin typeface="Calibri Light" panose="020F0302020204030204" pitchFamily="34" charset="0"/>
              </a:rPr>
              <a:t>Don’t Share As PPT</a:t>
            </a:r>
          </a:p>
        </p:txBody>
      </p:sp>
    </p:spTree>
    <p:extLst>
      <p:ext uri="{BB962C8B-B14F-4D97-AF65-F5344CB8AC3E}">
        <p14:creationId xmlns:p14="http://schemas.microsoft.com/office/powerpoint/2010/main" val="15502107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875002"/>
            <a:ext cx="5530850" cy="1107996"/>
          </a:xfrm>
        </p:spPr>
        <p:txBody>
          <a:bodyPr wrap="square">
            <a:spAutoFit/>
          </a:bodyPr>
          <a:lstStyle>
            <a:lvl1pPr>
              <a:defRPr sz="720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33460F-F216-4161-81D4-61770D44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7338" y="2286000"/>
            <a:ext cx="3827462" cy="25725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For more information, contact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83A137D-51C1-42BD-8E6A-5A17CA8E69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07338" y="2746674"/>
            <a:ext cx="3827462" cy="2894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>
                <a:effectLst/>
              </a:rPr>
              <a:t>Victoria Morriso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88F9D7D-61B7-4023-A90A-331ABB6016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07338" y="3039391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Head of Marketing EMEA</a:t>
            </a:r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5F31C29-0270-444C-AB5B-F5F8275A4E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07338" y="366107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victoria_morrison@epam.com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6A5DF8-022B-46A9-9257-DAA098142E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07338" y="3948004"/>
            <a:ext cx="3827462" cy="22512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+1 000 000 000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CF17201-04E3-48ED-9077-B42ECD88DB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7338" y="4572000"/>
            <a:ext cx="3827462" cy="117307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>
                <a:effectLst/>
              </a:rPr>
              <a:t>Address line 1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2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Address line 3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Zip code</a:t>
            </a:r>
            <a:br>
              <a:rPr lang="en-US">
                <a:effectLst/>
              </a:rPr>
            </a:br>
            <a:r>
              <a:rPr lang="en-US">
                <a:effectLst/>
              </a:rPr>
              <a:t>Country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54B6A1A-ED6A-490A-AA56-15684042F07D}"/>
              </a:ext>
            </a:extLst>
          </p:cNvPr>
          <p:cNvCxnSpPr/>
          <p:nvPr userDrawn="1"/>
        </p:nvCxnSpPr>
        <p:spPr>
          <a:xfrm>
            <a:off x="6946900" y="2286000"/>
            <a:ext cx="0" cy="353469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0681FC57-5C71-4F5A-AB2F-52FF92CEB4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06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51F759-2C51-4E26-B317-26DFEBAE952C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CC2842-970F-4D83-A7C9-C111F3E9E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94A4A7-1D42-43C4-8DAE-D39D601741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B7CA8-C6E3-4D9A-BDD1-5A660A9FF4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CF7C84-314E-4FB2-901C-E4AD0E7593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4E24727-48EE-48AA-9B6F-F26524FCE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8BC4A81-2FF3-4AC4-8F40-4F95105F59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53DF3A1-A093-468B-B30D-D2DB4C159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3338DC0-8609-4542-8807-E7838F7CE5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3948224-37C6-4D02-AFD9-C1D88C1C0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BDE3CEE-0230-44C2-A389-A8747AA6BB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6BF9761-22A6-4919-B7B5-2A027DDC6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BA13C9B-9D26-4B3E-8215-17F0475C20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64AC5FFC-6616-4F1B-B644-F0560ADC7E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F2C7208-C4AB-4962-96F0-F897DFFC3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5DCFC83-97AB-BE40-9059-9CE8B202173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40CC96-6026-B04A-A42D-A7A8F52BBA69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E04C751-FBC9-3B46-AAD4-46BD8DFA5D3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43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DE24B927-3EC2-4323-B375-35AD1C731AD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2503D5-C016-4D7F-83A5-0A293996B8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74065B5-82CF-0942-A54C-2DA21F896678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481E60FF-59F4-A045-B79D-392594C3A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140" y="1191039"/>
            <a:ext cx="3024846" cy="923330"/>
          </a:xfrm>
        </p:spPr>
        <p:txBody>
          <a:bodyPr wrap="square">
            <a:spAutoFit/>
          </a:bodyPr>
          <a:lstStyle>
            <a:lvl1pPr>
              <a:defRPr sz="6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107DFBB-2291-EC41-BE16-FC9C5276EA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86639" y="119103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13EC089-F387-EA41-87D3-D7758396A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639" y="1884106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2C0E4EA0-AEC6-2040-9DC8-9823144C8D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6639" y="256701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019E3807-3E52-E344-BE1D-80D26E008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6639" y="3260079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B1D9E5D-6DB8-F543-AD52-933C5C991D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6639" y="3942985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CAEE080-41A6-D445-8E6D-2AF68332C8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6639" y="4625892"/>
            <a:ext cx="498928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24A6FF9-0ADC-3D4D-B95A-23ED94770A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8930" y="119103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17202BF7-08E8-0642-B5BB-1D4E28A49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8930" y="1884106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1DF2E15-278E-BB41-AB8F-A0A51FACFD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8930" y="256701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70D617C-6EF1-9847-9E19-F322FAC38A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8930" y="3260079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49568AB-E132-0347-B868-577B88807D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930" y="3942985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A277EC2-1880-A64A-8CD9-EAFCECD5EA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18930" y="4625892"/>
            <a:ext cx="4554537" cy="32162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ction header here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D8C977B-490A-7A40-83B1-341231F1E4DA}"/>
              </a:ext>
            </a:extLst>
          </p:cNvPr>
          <p:cNvCxnSpPr>
            <a:cxnSpLocks/>
          </p:cNvCxnSpPr>
          <p:nvPr userDrawn="1"/>
        </p:nvCxnSpPr>
        <p:spPr>
          <a:xfrm>
            <a:off x="3725348" y="914400"/>
            <a:ext cx="0" cy="52578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46579F0-C0D7-394C-ABF4-CA5A1613E04C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659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F03CD9-50C7-44B7-B928-FC1A6F913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897BD5-071C-4070-AB48-99AEFB09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156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2D1CE3-09AB-4B8F-B4EA-802DA1F8168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2400" err="1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0330134-8A98-4980-8768-0A6F67408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le lorem ipsum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5AAE230-03E7-412A-8ABA-3FCF002106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D39377C-A4AF-4B79-9CA5-600FF7C9AA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E7284-C854-184C-A06D-CACC02F73E92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A1A574-71CC-6640-9BC0-9339C3ABCCC1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9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C1C81F5-54D7-4540-9257-18BFF40092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C8D4D26-39BC-439E-9736-9CE3385DD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1" y="2292310"/>
            <a:ext cx="7450138" cy="923330"/>
          </a:xfrm>
        </p:spPr>
        <p:txBody>
          <a:bodyPr wrap="square">
            <a:spAutoFit/>
          </a:bodyPr>
          <a:lstStyle>
            <a:lvl1pPr>
              <a:defRPr sz="60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33501BA-291D-41ED-BCBD-8B23A9C86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3429000"/>
            <a:ext cx="8632825" cy="20574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D9AC8-F415-4F41-81BB-33EEA9AD7083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>
                <a:solidFill>
                  <a:schemeClr val="bg1"/>
                </a:solidFill>
              </a:rPr>
              <a:t>CONFIDENTIAL. Copyright ©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AD51B5-4F0B-1246-8F71-7B2D95B954E2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>
                <a:solidFill>
                  <a:schemeClr val="bg1"/>
                </a:solidFill>
              </a:rPr>
              <a:pPr lvl="0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B932DC-E0AB-5041-A632-07A26B0EB2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382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599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</a:t>
            </a:r>
            <a:r>
              <a:rPr lang="en-US" dirty="0" err="1"/>
              <a:t>Ejjhdit</a:t>
            </a:r>
            <a:r>
              <a:rPr lang="en-US" dirty="0"/>
              <a:t>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532318-7ECA-4FB6-ADB1-48895B543C86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457201" y="6438901"/>
            <a:ext cx="540540" cy="190499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8369E08-22C8-4CA0-8BC3-06B27EF317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505" y="1181101"/>
            <a:ext cx="11274551" cy="4991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Edit Master text styles</a:t>
            </a:r>
          </a:p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6CDD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Second level</a:t>
            </a:r>
          </a:p>
          <a:p>
            <a:pPr marL="365760" marR="0" lvl="2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0A0A0"/>
              </a:buClr>
              <a:buSzTx/>
              <a:buFont typeface="Calibri" panose="020F0502020204030204" pitchFamily="34" charset="0"/>
              <a:buChar char="→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/>
                <a:cs typeface="Calibri" panose="020F0502020204030204" pitchFamily="34" charset="0"/>
              </a:rPr>
              <a:t>Third level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641FF6-5DCC-D34B-9DD7-29931472CBC7}"/>
              </a:ext>
            </a:extLst>
          </p:cNvPr>
          <p:cNvSpPr txBox="1"/>
          <p:nvPr userDrawn="1"/>
        </p:nvSpPr>
        <p:spPr>
          <a:xfrm>
            <a:off x="10505872" y="6406591"/>
            <a:ext cx="939818" cy="2189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algn="r">
              <a:defRPr kumimoji="0" sz="6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FIDENTIAL. Copyright ©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1DA6592-6579-C548-911C-85A5195E10BA}"/>
              </a:ext>
            </a:extLst>
          </p:cNvPr>
          <p:cNvSpPr txBox="1">
            <a:spLocks/>
          </p:cNvSpPr>
          <p:nvPr userDrawn="1"/>
        </p:nvSpPr>
        <p:spPr>
          <a:xfrm>
            <a:off x="11498094" y="6406591"/>
            <a:ext cx="242932" cy="21893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algn="r">
              <a:defRPr kumimoji="0" sz="800" b="0" i="0" u="none" strike="noStrike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07FA7470-6506-4B71-AD87-6F7FA0DD0168}" type="slidenum">
              <a:rPr lang="en-US" sz="1000" smtClean="0"/>
              <a:pPr lvl="0"/>
              <a:t>‹#›</a:t>
            </a:fld>
            <a:endParaRPr lang="en-US" sz="1000" dirty="0"/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24FA9BDF-DF37-400E-B5C3-59CE8A1C6B6B}"/>
              </a:ext>
            </a:extLst>
          </p:cNvPr>
          <p:cNvSpPr/>
          <p:nvPr userDrawn="1">
            <p:custDataLst>
              <p:tags r:id="rId4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US" sz="240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57" r:id="rId10"/>
    <p:sldLayoutId id="2147483760" r:id="rId11"/>
    <p:sldLayoutId id="2147483727" r:id="rId12"/>
    <p:sldLayoutId id="2147483729" r:id="rId13"/>
    <p:sldLayoutId id="2147483766" r:id="rId14"/>
    <p:sldLayoutId id="2147483751" r:id="rId15"/>
    <p:sldLayoutId id="2147483733" r:id="rId16"/>
    <p:sldLayoutId id="2147483740" r:id="rId17"/>
    <p:sldLayoutId id="2147483736" r:id="rId18"/>
    <p:sldLayoutId id="2147483765" r:id="rId19"/>
    <p:sldLayoutId id="2147483744" r:id="rId20"/>
    <p:sldLayoutId id="2147483762" r:id="rId21"/>
    <p:sldLayoutId id="2147483755" r:id="rId22"/>
    <p:sldLayoutId id="2147483768" r:id="rId23"/>
    <p:sldLayoutId id="2147483743" r:id="rId24"/>
    <p:sldLayoutId id="2147483756" r:id="rId25"/>
    <p:sldLayoutId id="2147483734" r:id="rId26"/>
    <p:sldLayoutId id="2147483745" r:id="rId27"/>
    <p:sldLayoutId id="2147483741" r:id="rId28"/>
    <p:sldLayoutId id="2147483735" r:id="rId29"/>
    <p:sldLayoutId id="2147483737" r:id="rId30"/>
    <p:sldLayoutId id="2147483739" r:id="rId31"/>
    <p:sldLayoutId id="2147483742" r:id="rId32"/>
    <p:sldLayoutId id="2147483746" r:id="rId33"/>
    <p:sldLayoutId id="2147483732" r:id="rId34"/>
    <p:sldLayoutId id="2147483747" r:id="rId35"/>
    <p:sldLayoutId id="2147483748" r:id="rId36"/>
    <p:sldLayoutId id="2147483749" r:id="rId37"/>
    <p:sldLayoutId id="2147483759" r:id="rId38"/>
    <p:sldLayoutId id="2147483761" r:id="rId39"/>
    <p:sldLayoutId id="2147483764" r:id="rId40"/>
    <p:sldLayoutId id="2147483750" r:id="rId4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+mj-lt"/>
          <a:ea typeface="Calibri" panose="020F050202020403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 userDrawn="1">
          <p15:clr>
            <a:srgbClr val="F26B43"/>
          </p15:clr>
        </p15:guide>
        <p15:guide id="16" orient="horz" pos="144">
          <p15:clr>
            <a:srgbClr val="F26B43"/>
          </p15:clr>
        </p15:guide>
        <p15:guide id="17" orient="horz" pos="288">
          <p15:clr>
            <a:srgbClr val="F26B43"/>
          </p15:clr>
        </p15:guide>
        <p15:guide id="19" orient="horz" pos="576">
          <p15:clr>
            <a:srgbClr val="F26B43"/>
          </p15:clr>
        </p15:guide>
        <p15:guide id="20" orient="horz" pos="744" userDrawn="1">
          <p15:clr>
            <a:srgbClr val="F26B43"/>
          </p15:clr>
        </p15:guide>
        <p15:guide id="41" orient="horz" pos="3888">
          <p15:clr>
            <a:srgbClr val="F26B43"/>
          </p15:clr>
        </p15:guide>
        <p15:guide id="43" orient="horz" pos="4176">
          <p15:clr>
            <a:srgbClr val="F26B43"/>
          </p15:clr>
        </p15:guide>
        <p15:guide id="56" orient="horz">
          <p15:clr>
            <a:srgbClr val="F26B43"/>
          </p15:clr>
        </p15:guide>
        <p15:guide id="57" orient="horz" pos="4320">
          <p15:clr>
            <a:srgbClr val="F26B43"/>
          </p15:clr>
        </p15:guide>
        <p15:guide id="58" orient="horz" pos="4032">
          <p15:clr>
            <a:srgbClr val="F26B43"/>
          </p15:clr>
        </p15:guide>
        <p15:guide id="59" pos="288">
          <p15:clr>
            <a:srgbClr val="F26B43"/>
          </p15:clr>
        </p15:guide>
        <p15:guide id="61" pos="7392">
          <p15:clr>
            <a:srgbClr val="F26B43"/>
          </p15:clr>
        </p15:guide>
        <p15:guide id="64" pos="1354">
          <p15:clr>
            <a:srgbClr val="F26B43"/>
          </p15:clr>
        </p15:guide>
        <p15:guide id="65" pos="1498">
          <p15:clr>
            <a:srgbClr val="F26B43"/>
          </p15:clr>
        </p15:guide>
        <p15:guide id="68" pos="2712" userDrawn="1">
          <p15:clr>
            <a:srgbClr val="F26B43"/>
          </p15:clr>
        </p15:guide>
        <p15:guide id="69" pos="2568">
          <p15:clr>
            <a:srgbClr val="F26B43"/>
          </p15:clr>
        </p15:guide>
        <p15:guide id="72" pos="3772">
          <p15:clr>
            <a:srgbClr val="F26B43"/>
          </p15:clr>
        </p15:guide>
        <p15:guide id="73" pos="3919">
          <p15:clr>
            <a:srgbClr val="F26B43"/>
          </p15:clr>
        </p15:guide>
        <p15:guide id="76" pos="5112" userDrawn="1">
          <p15:clr>
            <a:srgbClr val="F26B43"/>
          </p15:clr>
        </p15:guide>
        <p15:guide id="77" pos="4968" userDrawn="1">
          <p15:clr>
            <a:srgbClr val="F26B43"/>
          </p15:clr>
        </p15:guide>
        <p15:guide id="80" pos="6186">
          <p15:clr>
            <a:srgbClr val="F26B43"/>
          </p15:clr>
        </p15:guide>
        <p15:guide id="81" pos="63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DE665-95EF-7C44-9386-81441B656B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4261" y="4663440"/>
            <a:ext cx="5764213" cy="369332"/>
          </a:xfrm>
        </p:spPr>
        <p:txBody>
          <a:bodyPr/>
          <a:lstStyle/>
          <a:p>
            <a:r>
              <a:rPr lang="en-US" dirty="0"/>
              <a:t>Chris Xing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3BB777-E3A7-3349-B820-C2E473EC5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65" y="1965960"/>
            <a:ext cx="8584845" cy="2215991"/>
          </a:xfrm>
        </p:spPr>
        <p:txBody>
          <a:bodyPr>
            <a:spAutoFit/>
          </a:bodyPr>
          <a:lstStyle/>
          <a:p>
            <a:r>
              <a:rPr lang="en-US" sz="7200" dirty="0"/>
              <a:t>Engineering In Practice TypeScript Part II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E60A145-F330-D756-D9AB-7CD07E95CCDA}"/>
              </a:ext>
            </a:extLst>
          </p:cNvPr>
          <p:cNvSpPr/>
          <p:nvPr/>
        </p:nvSpPr>
        <p:spPr bwMode="auto">
          <a:xfrm>
            <a:off x="466165" y="4526977"/>
            <a:ext cx="642257" cy="642257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2"/>
            </a:solidFill>
          </a:ln>
          <a:effectLst/>
        </p:spPr>
        <p:txBody>
          <a:bodyPr wrap="square" lIns="0" tIns="0" rIns="0" bIns="0" rtlCol="0" anchor="ctr"/>
          <a:lstStyle/>
          <a:p>
            <a:pPr algn="ctr"/>
            <a:endParaRPr lang="en-CN" sz="2400" dirty="0">
              <a:solidFill>
                <a:schemeClr val="bg1"/>
              </a:solidFill>
              <a:latin typeface="Calibri Light" panose="020F0302020204030204" pitchFamily="34" charset="0"/>
              <a:ea typeface="Human Sans ExtraLight" charset="0"/>
              <a:cs typeface="Human 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713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FC33F06-6972-CE37-1B92-4BDA17013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N" dirty="0"/>
              <a:t>Recap of Part </a:t>
            </a:r>
            <a:r>
              <a:rPr lang="en-US" dirty="0"/>
              <a:t>I</a:t>
            </a:r>
            <a:endParaRPr lang="en-C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9ACEBB8-9BE5-588F-72BA-923DF05CE5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7C766575-6DC1-442A-145F-67BABD33B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043246"/>
              </p:ext>
            </p:extLst>
          </p:nvPr>
        </p:nvGraphicFramePr>
        <p:xfrm>
          <a:off x="0" y="1236905"/>
          <a:ext cx="12192000" cy="291135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632662">
                  <a:extLst>
                    <a:ext uri="{9D8B030D-6E8A-4147-A177-3AD203B41FA5}">
                      <a16:colId xmlns:a16="http://schemas.microsoft.com/office/drawing/2014/main" val="4194202993"/>
                    </a:ext>
                  </a:extLst>
                </a:gridCol>
                <a:gridCol w="8559338">
                  <a:extLst>
                    <a:ext uri="{9D8B030D-6E8A-4147-A177-3AD203B41FA5}">
                      <a16:colId xmlns:a16="http://schemas.microsoft.com/office/drawing/2014/main" val="2322611264"/>
                    </a:ext>
                  </a:extLst>
                </a:gridCol>
              </a:tblGrid>
              <a:tr h="58227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The Primitives      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Template Literal Type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413499"/>
                  </a:ext>
                </a:extLst>
              </a:tr>
              <a:tr h="58227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Object &amp; Array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Literal Type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6472245"/>
                  </a:ext>
                </a:extLst>
              </a:tr>
              <a:tr h="58227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Optional Propertie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eneric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825139"/>
                  </a:ext>
                </a:extLst>
              </a:tr>
              <a:tr h="58227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Union Type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Type Assertion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700367"/>
                  </a:ext>
                </a:extLst>
              </a:tr>
              <a:tr h="5822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Type Aliase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act Hooks</a:t>
                      </a:r>
                    </a:p>
                  </a:txBody>
                  <a:tcPr marL="457200" marR="4572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411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761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7AC96CE-37A2-C932-57FA-2525BF996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tisfi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B36E3B3-DE4C-CAB3-B9B0-FC5D93D2B5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A47B2D-1B4D-3175-F32D-7005EAC3E7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824346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plan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personal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3F9D8"/>
                </a:solidFill>
                <a:effectLst/>
                <a:latin typeface="FiraCode-Retina" panose="020B0809050000020004" pitchFamily="49" charset="0"/>
              </a:rPr>
              <a:t>10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team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(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user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)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=&gt;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user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*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3F9D8"/>
                </a:solidFill>
                <a:effectLst/>
                <a:latin typeface="FiraCode-Retina" panose="020B0809050000020004" pitchFamily="49" charset="0"/>
              </a:rPr>
              <a:t>5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enterprise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(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user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)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=&gt;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user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*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3F9D8"/>
                </a:solidFill>
                <a:effectLst/>
                <a:latin typeface="FiraCode-Retina" panose="020B0809050000020004" pitchFamily="49" charset="0"/>
              </a:rPr>
              <a:t>20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 </a:t>
            </a:r>
            <a:r>
              <a:rPr lang="en-US" b="0" dirty="0">
                <a:solidFill>
                  <a:srgbClr val="C586C0"/>
                </a:solidFill>
                <a:effectLst/>
                <a:latin typeface="FiraCode-Retina" panose="020B0809050000020004" pitchFamily="49" charset="0"/>
              </a:rPr>
              <a:t>satisfie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Recor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la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ric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gt;;</a:t>
            </a:r>
          </a:p>
        </p:txBody>
      </p:sp>
    </p:spTree>
    <p:extLst>
      <p:ext uri="{BB962C8B-B14F-4D97-AF65-F5344CB8AC3E}">
        <p14:creationId xmlns:p14="http://schemas.microsoft.com/office/powerpoint/2010/main" val="2214698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EC1E3-5A84-8DB8-6297-16425DEAB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ss Property Checks</a:t>
            </a:r>
            <a:br>
              <a:rPr lang="en-US" dirty="0"/>
            </a:br>
            <a:endParaRPr lang="en-C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1343B9-E0C3-E716-322E-F8FB43668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1131B3-C413-3906-0AED-B4D3FAEE82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2815386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erso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nam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cons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person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erso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name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A8A8"/>
                </a:solidFill>
                <a:effectLst/>
                <a:latin typeface="FiraCode-Retina" panose="020B0809050000020004" pitchFamily="49" charset="0"/>
              </a:rPr>
              <a:t>"Sarah"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u="wavyHeavy" dirty="0">
                <a:solidFill>
                  <a:srgbClr val="72C3FC"/>
                </a:solidFill>
                <a:effectLst/>
                <a:uFill>
                  <a:solidFill>
                    <a:srgbClr val="C00000"/>
                  </a:solidFill>
                </a:uFill>
                <a:latin typeface="FiraCode-Retina" panose="020B0809050000020004" pitchFamily="49" charset="0"/>
              </a:rPr>
              <a:t>age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3F9D8"/>
                </a:solidFill>
                <a:effectLst/>
                <a:latin typeface="FiraCode-Retina" panose="020B0809050000020004" pitchFamily="49" charset="0"/>
              </a:rPr>
              <a:t>13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};</a:t>
            </a:r>
          </a:p>
          <a:p>
            <a:endParaRPr lang="en-US" dirty="0">
              <a:solidFill>
                <a:srgbClr val="F2F4F8"/>
              </a:solidFill>
              <a:latin typeface="FiraCode-Retina" panose="020B0809050000020004" pitchFamily="49" charset="0"/>
            </a:endParaRPr>
          </a:p>
          <a:p>
            <a:r>
              <a:rPr lang="en-US" b="0" i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Object literal may only specify known properties, and 'age' does not exist in type 'Person' (2322)</a:t>
            </a:r>
            <a:endParaRPr lang="en-US" b="0" dirty="0">
              <a:solidFill>
                <a:srgbClr val="F2F4F8"/>
              </a:solidFill>
              <a:effectLst/>
              <a:latin typeface="FiraCode-Retina" panose="020B08090500000200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6858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747EC-1CFC-FBAB-D0A2-397C136E8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riminated Union</a:t>
            </a:r>
            <a:endParaRPr lang="en-C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739A5C-DB05-EFFE-7ADC-3524ED619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1EB3E6-9536-3C57-6A28-72709DF9B8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461999"/>
            <a:ext cx="11280651" cy="3578672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Aler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typ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A8A8"/>
                </a:solidFill>
                <a:effectLst/>
                <a:latin typeface="FiraCode-Retina" panose="020B0809050000020004" pitchFamily="49" charset="0"/>
              </a:rPr>
              <a:t>"alert"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Confirm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typ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A8A8"/>
                </a:solidFill>
                <a:effectLst/>
                <a:latin typeface="FiraCode-Retina" panose="020B0809050000020004" pitchFamily="49" charset="0"/>
              </a:rPr>
              <a:t>"confirm"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confirmButtonMassag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rop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Aler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Confirm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412300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935A9-92A8-4DB4-B286-27B1B2E0EE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ver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5E6D5F-1941-82E7-8ABA-FB996B527E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BAAD47-8BC8-FCB0-E913-0ED0650A6C9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3960315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Fre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Bas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url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pric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ev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terfac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ai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Bas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url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?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ev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pric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Cours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Fre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|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ai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785845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A4E63-739D-6916-A22B-9A783BA3AD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ic Component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6E8915-AE03-947D-20D2-074D654E7C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72310D-0805-6F16-5DB9-6DFC6B515C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2129044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ableProp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gt;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</a:t>
            </a:r>
          </a:p>
          <a:p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  data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[],</a:t>
            </a:r>
          </a:p>
          <a:p>
            <a:r>
              <a:rPr lang="en-US" b="0" dirty="0">
                <a:solidFill>
                  <a:srgbClr val="FFF3BF"/>
                </a:solidFill>
                <a:effectLst/>
                <a:latin typeface="FiraCode-Retina" panose="020B0809050000020004" pitchFamily="49" charset="0"/>
              </a:rPr>
              <a:t>  onRowClick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row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)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};</a:t>
            </a:r>
          </a:p>
          <a:p>
            <a:b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</a:b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F3BF"/>
                </a:solidFill>
                <a:effectLst/>
                <a:latin typeface="FiraCode-Retina" panose="020B0809050000020004" pitchFamily="49" charset="0"/>
              </a:rPr>
              <a:t>Tabl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gt;(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props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ableProp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gt;)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ull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9144292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08440-6D70-D2E2-A39E-310647B5B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eled Tuple Elements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21601D-96F7-CDA9-7B18-3E121737D5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033699-93F6-6F6C-7D18-F72ED09DF3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061060"/>
          </a:xfrm>
        </p:spPr>
        <p:txBody>
          <a:bodyPr/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Foo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=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[first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second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?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...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rest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any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[]];</a:t>
            </a:r>
          </a:p>
          <a:p>
            <a:endParaRPr lang="en-US" b="0" dirty="0">
              <a:solidFill>
                <a:srgbClr val="329AF0"/>
              </a:solidFill>
              <a:effectLst/>
              <a:latin typeface="FiraCode-Retina" panose="020B0809050000020004" pitchFamily="49" charset="0"/>
            </a:endParaRPr>
          </a:p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F3BF"/>
                </a:solidFill>
                <a:effectLst/>
                <a:latin typeface="FiraCode-Retina" panose="020B0809050000020004" pitchFamily="49" charset="0"/>
              </a:rPr>
              <a:t>foo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(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...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args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[arg1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string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arg2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numb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])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143801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9CA51-A9F6-379A-BABB-314DC252A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s On</a:t>
            </a:r>
            <a:endParaRPr lang="en-C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B4396D-F2FF-BDA0-4E51-031E900597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A55BFD-F7BE-9FEB-0DA1-8B3372B0C02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01" y="1537415"/>
            <a:ext cx="11280651" cy="1824346"/>
          </a:xfrm>
        </p:spPr>
        <p:txBody>
          <a:bodyPr>
            <a:spAutoFit/>
          </a:bodyPr>
          <a:lstStyle/>
          <a:p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declare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function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FFF3BF"/>
                </a:solidFill>
                <a:effectLst/>
                <a:latin typeface="FiraCode-Retina" panose="020B0809050000020004" pitchFamily="49" charset="0"/>
              </a:rPr>
              <a:t>sendEven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Ev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[</a:t>
            </a:r>
            <a:r>
              <a:rPr lang="en-US" b="0" dirty="0">
                <a:solidFill>
                  <a:srgbClr val="FFA8A8"/>
                </a:solidFill>
                <a:effectLst/>
                <a:latin typeface="FiraCode-Retina" panose="020B0809050000020004" pitchFamily="49" charset="0"/>
              </a:rPr>
              <a:t>"type"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]&gt;(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  ...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args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Extrac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&lt;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Ev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{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type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}&gt;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extends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{ </a:t>
            </a:r>
            <a:r>
              <a:rPr lang="en-US" b="0" dirty="0">
                <a:solidFill>
                  <a:srgbClr val="72C3FC"/>
                </a:solidFill>
                <a:effectLst/>
                <a:latin typeface="FiraCode-Retina" panose="020B0809050000020004" pitchFamily="49" charset="0"/>
              </a:rPr>
              <a:t>payload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329AF0"/>
                </a:solidFill>
                <a:effectLst/>
                <a:latin typeface="FiraCode-Retina" panose="020B0809050000020004" pitchFamily="49" charset="0"/>
              </a:rPr>
              <a:t>infer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ayloa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}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    ?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[type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, payload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Payloa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]</a:t>
            </a:r>
          </a:p>
          <a:p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    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[type: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T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]</a:t>
            </a:r>
          </a:p>
          <a:p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 )</a:t>
            </a:r>
            <a:r>
              <a:rPr lang="en-US" b="0" dirty="0">
                <a:solidFill>
                  <a:srgbClr val="D4D4D4"/>
                </a:solidFill>
                <a:effectLst/>
                <a:latin typeface="FiraCode-Retina" panose="020B0809050000020004" pitchFamily="49" charset="0"/>
              </a:rPr>
              <a:t>: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 </a:t>
            </a:r>
            <a:r>
              <a:rPr lang="en-US" b="0" dirty="0">
                <a:solidFill>
                  <a:srgbClr val="4EC9B0"/>
                </a:solidFill>
                <a:effectLst/>
                <a:latin typeface="FiraCode-Retina" panose="020B0809050000020004" pitchFamily="49" charset="0"/>
              </a:rPr>
              <a:t>void</a:t>
            </a:r>
            <a:r>
              <a:rPr lang="en-US" b="0" dirty="0">
                <a:solidFill>
                  <a:srgbClr val="F2F4F8"/>
                </a:solidFill>
                <a:effectLst/>
                <a:latin typeface="FiraCode-Retina" panose="020B08090500000200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3217398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LASTDOWNLOADED" val="01.01.0001 00:00:00"/>
  <p:tag name="MIO_FALLBACK_LAYOUT" val="1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8"/>
</p:tagLst>
</file>

<file path=ppt/theme/theme1.xml><?xml version="1.0" encoding="utf-8"?>
<a:theme xmlns:a="http://schemas.openxmlformats.org/drawingml/2006/main" name="EPAM Master 2021.2">
  <a:themeElements>
    <a:clrScheme name="Custom 3">
      <a:dk1>
        <a:srgbClr val="222222"/>
      </a:dk1>
      <a:lt1>
        <a:srgbClr val="FFFFFF"/>
      </a:lt1>
      <a:dk2>
        <a:srgbClr val="A0A0A0"/>
      </a:dk2>
      <a:lt2>
        <a:srgbClr val="F6F6F6"/>
      </a:lt2>
      <a:accent1>
        <a:srgbClr val="222222"/>
      </a:accent1>
      <a:accent2>
        <a:srgbClr val="76CDD8"/>
      </a:accent2>
      <a:accent3>
        <a:srgbClr val="FFC000"/>
      </a:accent3>
      <a:accent4>
        <a:srgbClr val="445464"/>
      </a:accent4>
      <a:accent5>
        <a:srgbClr val="008ACE"/>
      </a:accent5>
      <a:accent6>
        <a:srgbClr val="38C2D7"/>
      </a:accent6>
      <a:hlink>
        <a:srgbClr val="76CDD8"/>
      </a:hlink>
      <a:folHlink>
        <a:srgbClr val="A0A0A0"/>
      </a:folHlink>
    </a:clrScheme>
    <a:fontScheme name="EPAM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</a:spPr>
      <a:bodyPr wrap="square" lIns="0" tIns="0" rIns="0" bIns="0" rtlCol="0" anchor="ctr"/>
      <a:lstStyle>
        <a:defPPr algn="ctr">
          <a:defRPr sz="2400" dirty="0" smtClean="0">
            <a:solidFill>
              <a:schemeClr val="bg1"/>
            </a:solidFill>
            <a:latin typeface="Calibri Light" panose="020F0302020204030204" pitchFamily="34" charset="0"/>
            <a:ea typeface="Human Sans ExtraLight" charset="0"/>
            <a:cs typeface="Human Sans ExtraLight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>
        <a:spAutoFit/>
      </a:bodyPr>
      <a:lstStyle>
        <a:defPPr algn="l">
          <a:defRPr dirty="0" smtClean="0"/>
        </a:defPPr>
      </a:lstStyle>
    </a:txDef>
  </a:objectDefaults>
  <a:extraClrSchemeLst/>
  <a:custClrLst>
    <a:custClr name="PALINA BLUE">
      <a:srgbClr val="A9C9D7"/>
    </a:custClr>
    <a:custClr name="DARK PURPLE ">
      <a:srgbClr val="8A7CBB"/>
    </a:custClr>
    <a:custClr name="LIGHT PURPLE">
      <a:srgbClr val="AE9BD8"/>
    </a:custClr>
    <a:custClr name="BRIGHT CORAL">
      <a:srgbClr val="FF4E33"/>
    </a:custClr>
    <a:custClr name="EPAM CORAL">
      <a:srgbClr val="FF8468"/>
    </a:custClr>
    <a:custClr name="BRIGHT ORANGE">
      <a:srgbClr val="FF8500"/>
    </a:custClr>
    <a:custClr name="ORANGE ">
      <a:srgbClr val="FFA436"/>
    </a:custClr>
    <a:custClr name="DARK GREEN">
      <a:srgbClr val="62A230"/>
    </a:custClr>
    <a:custClr name="BRIGHT GREEN">
      <a:srgbClr val="9BC838"/>
    </a:custClr>
    <a:custClr name="LIME GREEN">
      <a:srgbClr val="C8DE49"/>
    </a:custClr>
  </a:custClrLst>
  <a:extLst>
    <a:ext uri="{05A4C25C-085E-4340-85A3-A5531E510DB2}">
      <thm15:themeFamily xmlns:thm15="http://schemas.microsoft.com/office/thememl/2012/main" name="Continuum_Master_v1.1" id="{D2F91407-39AD-2344-8F42-01B4155FF2FD}" vid="{09F1F252-BD3A-0A45-9F6B-518524EA32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117DE914E1FC49A35D90CD8516D943" ma:contentTypeVersion="12" ma:contentTypeDescription="Create a new document." ma:contentTypeScope="" ma:versionID="e1f7c3316c007ddcbbfc786aee0f30b6">
  <xsd:schema xmlns:xsd="http://www.w3.org/2001/XMLSchema" xmlns:xs="http://www.w3.org/2001/XMLSchema" xmlns:p="http://schemas.microsoft.com/office/2006/metadata/properties" xmlns:ns2="58f349b0-675b-4c01-8ee6-14db8fa12501" xmlns:ns3="df44d29e-ce0d-48fd-88bf-98e6a958fd4b" targetNamespace="http://schemas.microsoft.com/office/2006/metadata/properties" ma:root="true" ma:fieldsID="ebdd3e3611f83f5edb1b485483198b2e" ns2:_="" ns3:_="">
    <xsd:import namespace="58f349b0-675b-4c01-8ee6-14db8fa12501"/>
    <xsd:import namespace="df44d29e-ce0d-48fd-88bf-98e6a958fd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f349b0-675b-4c01-8ee6-14db8fa125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4d29e-ce0d-48fd-88bf-98e6a958fd4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f44d29e-ce0d-48fd-88bf-98e6a958fd4b">
      <UserInfo>
        <DisplayName>Anzhalika Levandouskaya</DisplayName>
        <AccountId>19</AccountId>
        <AccountType/>
      </UserInfo>
      <UserInfo>
        <DisplayName>EPAM all Members</DisplayName>
        <AccountId>172</AccountId>
        <AccountType/>
      </UserInfo>
      <UserInfo>
        <DisplayName>EPAM all Members</DisplayName>
        <AccountId>17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45DB04F-7584-4690-B257-DA90A69356DD}">
  <ds:schemaRefs>
    <ds:schemaRef ds:uri="58f349b0-675b-4c01-8ee6-14db8fa12501"/>
    <ds:schemaRef ds:uri="df44d29e-ce0d-48fd-88bf-98e6a958fd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7CA341C-74C1-4577-8C96-EF2605DC52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2E3419-B313-4514-AD24-D56E1F80A63A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f44d29e-ce0d-48fd-88bf-98e6a958fd4b"/>
    <ds:schemaRef ds:uri="58f349b0-675b-4c01-8ee6-14db8fa1250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87</TotalTime>
  <Words>337</Words>
  <Application>Microsoft Macintosh PowerPoint</Application>
  <PresentationFormat>Widescreen</PresentationFormat>
  <Paragraphs>67</Paragraphs>
  <Slides>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Calibri Bold</vt:lpstr>
      <vt:lpstr>Arial</vt:lpstr>
      <vt:lpstr>Calibri</vt:lpstr>
      <vt:lpstr>Calibri Light</vt:lpstr>
      <vt:lpstr>FiraCode-Retina</vt:lpstr>
      <vt:lpstr>EPAM Master 2021.2</vt:lpstr>
      <vt:lpstr>Engineering In Practice TypeScript Part II</vt:lpstr>
      <vt:lpstr>Recap of Part I</vt:lpstr>
      <vt:lpstr>Satisfies</vt:lpstr>
      <vt:lpstr>Excess Property Checks </vt:lpstr>
      <vt:lpstr>Discriminated Union</vt:lpstr>
      <vt:lpstr>Never</vt:lpstr>
      <vt:lpstr>Generic Components</vt:lpstr>
      <vt:lpstr>Labeled Tuple Elements</vt:lpstr>
      <vt:lpstr>Hands 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lina Vilava</dc:creator>
  <cp:lastModifiedBy>Chris Xing</cp:lastModifiedBy>
  <cp:revision>29</cp:revision>
  <dcterms:created xsi:type="dcterms:W3CDTF">2020-10-27T12:12:11Z</dcterms:created>
  <dcterms:modified xsi:type="dcterms:W3CDTF">2023-10-27T08:4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117DE914E1FC49A35D90CD8516D943</vt:lpwstr>
  </property>
  <property fmtid="{D5CDD505-2E9C-101B-9397-08002B2CF9AE}" pid="3" name="MSIP_Label_2a535040-0af2-483f-adc3-a132c21e3e2b_Enabled">
    <vt:lpwstr>true</vt:lpwstr>
  </property>
  <property fmtid="{D5CDD505-2E9C-101B-9397-08002B2CF9AE}" pid="4" name="MSIP_Label_2a535040-0af2-483f-adc3-a132c21e3e2b_SetDate">
    <vt:lpwstr>2023-10-24T06:20:27Z</vt:lpwstr>
  </property>
  <property fmtid="{D5CDD505-2E9C-101B-9397-08002B2CF9AE}" pid="5" name="MSIP_Label_2a535040-0af2-483f-adc3-a132c21e3e2b_Method">
    <vt:lpwstr>Privileged</vt:lpwstr>
  </property>
  <property fmtid="{D5CDD505-2E9C-101B-9397-08002B2CF9AE}" pid="6" name="MSIP_Label_2a535040-0af2-483f-adc3-a132c21e3e2b_Name">
    <vt:lpwstr>EPAM_Confidential</vt:lpwstr>
  </property>
  <property fmtid="{D5CDD505-2E9C-101B-9397-08002B2CF9AE}" pid="7" name="MSIP_Label_2a535040-0af2-483f-adc3-a132c21e3e2b_SiteId">
    <vt:lpwstr>b41b72d0-4e9f-4c26-8a69-f949f367c91d</vt:lpwstr>
  </property>
  <property fmtid="{D5CDD505-2E9C-101B-9397-08002B2CF9AE}" pid="8" name="MSIP_Label_2a535040-0af2-483f-adc3-a132c21e3e2b_ActionId">
    <vt:lpwstr>560ff7c0-2cea-45f9-a222-adec57eb0f72</vt:lpwstr>
  </property>
  <property fmtid="{D5CDD505-2E9C-101B-9397-08002B2CF9AE}" pid="9" name="MSIP_Label_2a535040-0af2-483f-adc3-a132c21e3e2b_ContentBits">
    <vt:lpwstr>0</vt:lpwstr>
  </property>
</Properties>
</file>